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8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Microsoft Office User" initials="Office [5]" lastIdx="1" clrIdx="2"/>
  <p:cmAuthor id="4" name="Microsoft Office User" initials="Office [3]" lastIdx="1" clrIdx="3"/>
  <p:cmAuthor id="5" name="Microsoft Office User" initials="Office [4]" lastIdx="1" clrIdx="4"/>
  <p:cmAuthor id="6" name="Microsoft Office User" initials="Office" lastIdx="1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CF76"/>
    <a:srgbClr val="6D6E71"/>
    <a:srgbClr val="DCD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348" autoAdjust="0"/>
    <p:restoredTop sz="93875" autoAdjust="0"/>
  </p:normalViewPr>
  <p:slideViewPr>
    <p:cSldViewPr snapToGrid="0" snapToObjects="1">
      <p:cViewPr varScale="1">
        <p:scale>
          <a:sx n="106" d="100"/>
          <a:sy n="106" d="100"/>
        </p:scale>
        <p:origin x="1002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2/24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2/24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595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oc_fip_2c_f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84" y="6396331"/>
            <a:ext cx="2294641" cy="2171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GCworkplace-FullColour-FR-grey.png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1426" y="193640"/>
            <a:ext cx="1598612" cy="296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1.xml"/><Relationship Id="rId7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.png"/><Relationship Id="rId4" Type="http://schemas.openxmlformats.org/officeDocument/2006/relationships/image" Target="../media/image5.jpeg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3" y="0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3" y="-15498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4512" y="2772009"/>
            <a:ext cx="4989021" cy="1587701"/>
          </a:xfrm>
        </p:spPr>
        <p:txBody>
          <a:bodyPr>
            <a:normAutofit fontScale="90000"/>
          </a:bodyPr>
          <a:lstStyle/>
          <a:p>
            <a:r>
              <a:rPr lang="fr-CA" altLang="en-US" dirty="0">
                <a:solidFill>
                  <a:schemeClr val="bg1"/>
                </a:solidFill>
                <a:latin typeface="Arial Rounded MT Bold" panose="020F0704030504030204" pitchFamily="34" charset="0"/>
              </a:rPr>
              <a:t>Boîte à outils des employés – À VENIR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44513" y="4981549"/>
            <a:ext cx="3494087" cy="526957"/>
          </a:xfrm>
        </p:spPr>
        <p:txBody>
          <a:bodyPr/>
          <a:lstStyle/>
          <a:p>
            <a:b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ate : FÉVRIER 2023</a:t>
            </a:r>
          </a:p>
          <a:p>
            <a:endParaRPr lang="en-US" dirty="0">
              <a:solidFill>
                <a:schemeClr val="bg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-2" y="6130345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Image result for canada wordmark">
            <a:hlinkClick r:id="rId7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GCworkplace-FullColour-FR.png">
            <a:extLst>
              <a:ext uri="{FF2B5EF4-FFF2-40B4-BE49-F238E27FC236}">
                <a16:creationId xmlns:a16="http://schemas.microsoft.com/office/drawing/2014/main" id="{DE3A470F-1795-2E7C-03F8-1EC249F7AAA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2" y="422911"/>
            <a:ext cx="2906818" cy="567491"/>
          </a:xfrm>
          <a:prstGeom prst="rect">
            <a:avLst/>
          </a:prstGeom>
        </p:spPr>
      </p:pic>
      <p:pic>
        <p:nvPicPr>
          <p:cNvPr id="11" name="Picture 10" descr="goc_fip_2c_f.png">
            <a:extLst>
              <a:ext uri="{FF2B5EF4-FFF2-40B4-BE49-F238E27FC236}">
                <a16:creationId xmlns:a16="http://schemas.microsoft.com/office/drawing/2014/main" id="{C1E43B71-3699-E07A-8655-39BAF6E03A0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023" y="6396331"/>
            <a:ext cx="2294641" cy="217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606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61</TotalTime>
  <Words>14</Words>
  <Application>Microsoft Office PowerPoint</Application>
  <PresentationFormat>Widescreen</PresentationFormat>
  <Paragraphs>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Georgia</vt:lpstr>
      <vt:lpstr>Office Theme</vt:lpstr>
      <vt:lpstr>think-cell Slide</vt:lpstr>
      <vt:lpstr>Boîte à outils des employés – À VENI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338</cp:revision>
  <dcterms:created xsi:type="dcterms:W3CDTF">2018-01-23T15:59:12Z</dcterms:created>
  <dcterms:modified xsi:type="dcterms:W3CDTF">2023-02-24T18:19:31Z</dcterms:modified>
</cp:coreProperties>
</file>